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56" r:id="rId5"/>
    <p:sldId id="4848" r:id="rId6"/>
    <p:sldId id="2147375597" r:id="rId7"/>
    <p:sldId id="2147375600" r:id="rId8"/>
    <p:sldId id="2147375608" r:id="rId9"/>
    <p:sldId id="2147375605" r:id="rId10"/>
    <p:sldId id="2147375602" r:id="rId11"/>
    <p:sldId id="2147375603" r:id="rId12"/>
    <p:sldId id="2147375607" r:id="rId13"/>
    <p:sldId id="1633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84933A-EB5E-44CB-9F26-C3A3949D0B72}" v="7" dt="2024-08-30T14:22:48.055"/>
    <p1510:client id="{DF0BD80A-A041-4F8A-BE7B-DB7C6631019A}" v="7" dt="2024-08-31T14:03:49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79" d="100"/>
          <a:sy n="79" d="100"/>
        </p:scale>
        <p:origin x="773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449338"/>
            <a:ext cx="10525125" cy="1754326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Day 3 (02-Sep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st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finition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n activity where a system or component is executed under specific conditions, results are observed, and evaluations are made regarding some aspects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ample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Running a test to verify that a login feature works correctly under normal conditions.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ftware Testing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finition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he process of evaluating and verifying that a software product or application does what it’s supposed to do. It helps identify bugs and ensure quality.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ere Testing Fits in SDLC (V-Model)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cription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In the V-Model (Validation and Verification Model), testing is integrated at every stage, starting from requirement analysis through to coding, with corresponding testing phases such as unit, integration, system, and acceptance testing.</a:t>
            </a:r>
          </a:p>
          <a:p>
            <a:pPr marL="0" marR="0" algn="just">
              <a:spcBef>
                <a:spcPts val="0"/>
              </a:spcBef>
              <a:spcAft>
                <a:spcPts val="800"/>
              </a:spcAft>
            </a:pPr>
            <a:endParaRPr lang="en-US" sz="11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</p:txBody>
      </p:sp>
      <p:pic>
        <p:nvPicPr>
          <p:cNvPr id="1026" name="Picture 2" descr="What Is the V-Model? (Definition, Examples) | Built In">
            <a:extLst>
              <a:ext uri="{FF2B5EF4-FFF2-40B4-BE49-F238E27FC236}">
                <a16:creationId xmlns:a16="http://schemas.microsoft.com/office/drawing/2014/main" id="{05E9E03D-C53A-9262-1543-EF37D5BC3B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0600" y="2858499"/>
            <a:ext cx="4565920" cy="3078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oftware Failure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en a software application does not perform as expected due to bugs, errors, or environmental factors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ample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n application crashes when a user attempts to upload a file.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y Software Testing is Necessary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cause it e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sures that software is free of defects, meets requirements, and provides a quality user experience, reducing the risk of failures post-release.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LC (Software Testing Life Cycle)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 sequence of specific steps followed during the testing process to ensure that quality goals are met.</a:t>
            </a:r>
            <a:endParaRPr lang="en-US" sz="1400" b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7 Phases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</a:t>
            </a:r>
          </a:p>
          <a:p>
            <a:pPr lvl="1" algn="just">
              <a:lnSpc>
                <a:spcPct val="115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b="1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quirement Analysis</a:t>
            </a:r>
            <a:r>
              <a:rPr lang="en-US" sz="1400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Analyzing the requirements to identify what needs to be tested and determine testable conditions.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15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b="1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Planning</a:t>
            </a:r>
            <a:r>
              <a:rPr lang="en-US" sz="1400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Creating a test plan and strategy, defining the scope, objectives, resources, schedule, and deliverables.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15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b="1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Case Development</a:t>
            </a:r>
            <a:r>
              <a:rPr lang="en-US" sz="1400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Designing detailed test cases and test scripts based on the requirements and planning.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15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b="1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vironment Setup</a:t>
            </a:r>
            <a:r>
              <a:rPr lang="en-US" sz="1400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Preparing the necessary hardware, software, and network configurations for test execution.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15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400" b="1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Execution</a:t>
            </a:r>
            <a:r>
              <a:rPr lang="en-US" sz="1400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Running the test cases in the test environment and recording the results.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sz="1400" b="1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Cycle Closure</a:t>
            </a:r>
            <a:r>
              <a:rPr lang="en-US" sz="1400" kern="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Analyzing test results, evaluating test completion criteria, and closing the testing process with reports and documentation.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3074" name="Picture 2" descr="Know Software Testing Life Cycle (STLC) a little better â€“ IBR Infotech">
            <a:extLst>
              <a:ext uri="{FF2B5EF4-FFF2-40B4-BE49-F238E27FC236}">
                <a16:creationId xmlns:a16="http://schemas.microsoft.com/office/drawing/2014/main" id="{76A83A92-EA62-61F8-9BF3-80C418C415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469" y="1529088"/>
            <a:ext cx="6695062" cy="4686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35406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DLC vs. STLC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cription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SDLC (Software Development Life Cycle) focuses on the complete development process, while STLC is specifically concerned with the testing phase within the SDLC.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sting Triangle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finition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 model that represents the distribution of different types of tests in a software project, emphasizing a larger base of unit tests, followed by fewer integration tests, and even fewer end-to-end tests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ample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Most tests should be unit tests, some should be integration tests, and the fewest should be UI or end-to-end tests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1400" b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1400" b="1" kern="100" dirty="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1400" b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1400" b="1" kern="100" dirty="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1400" b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1400" b="1" kern="100" dirty="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ypes of Software Testing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atic Testing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Involves reviewing documents and code without executing the software (e.g., code reviews, walkthroughs)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ynamic Testing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Involves executing code and checking its behavior (e.g., functional testing).</a:t>
            </a: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098" name="Picture 2" descr="What is Testing Pyramid?">
            <a:extLst>
              <a:ext uri="{FF2B5EF4-FFF2-40B4-BE49-F238E27FC236}">
                <a16:creationId xmlns:a16="http://schemas.microsoft.com/office/drawing/2014/main" id="{E742660F-09F5-7436-7688-CA721254A4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5745" y="1937858"/>
            <a:ext cx="3486676" cy="1961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84436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unctional Testing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Verifies that the software performs its intended functions (e.g., testing a login form).</a:t>
            </a: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n-Functional Testing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Checks non-functional aspects like performance, usability, and security (e.g., load testing)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utomation Testing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finition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he use of software tools to execute pre-scripted tests on a software application before it is released into production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nefits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Increases efficiency, repeatability, and coverage of tests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ich Test Cases to Automate and Not to Automate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utomate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Repetitive, high-risk, data-driven, or time-consuming tests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o Not Automate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Exploratory, ad-hoc, or UI tests that require human judgment.</a:t>
            </a:r>
            <a:endParaRPr lang="en-US" sz="14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F2731A-8619-9896-29C0-E4A73853C9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11388" y="2519178"/>
            <a:ext cx="4464400" cy="3418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03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utomation Testing Tools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lenium, JUnit, TestNG, and Jenkins for continuous integration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nit Test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finition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esting individual components or modules of a software to verify that each part functions correctly in isolation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ample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esting a single function that calculates the total price of items in a shopping cart.</a:t>
            </a:r>
          </a:p>
        </p:txBody>
      </p:sp>
      <p:pic>
        <p:nvPicPr>
          <p:cNvPr id="6148" name="Picture 4" descr="Top 16 Automation Testing Tools 2024 | Katalon">
            <a:extLst>
              <a:ext uri="{FF2B5EF4-FFF2-40B4-BE49-F238E27FC236}">
                <a16:creationId xmlns:a16="http://schemas.microsoft.com/office/drawing/2014/main" id="{7F38FB5A-C084-468B-1824-E9D6E5531A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8787" y="2346340"/>
            <a:ext cx="5359942" cy="3105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5977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6</a:t>
            </a:r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91440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lackbox vs. Whitebox vs. </a:t>
            </a: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reybox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esting</a:t>
            </a:r>
            <a:endParaRPr lang="en-US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lackbox Testing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esting without knowing the internal code structure. Focuses on inputs and outputs.</a:t>
            </a:r>
          </a:p>
          <a:p>
            <a:pPr marL="742950" marR="0" lvl="1" indent="-28575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ampl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esting a user interface to ensure it behaves as expected.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itebox Testing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esting with knowledge of the internal code structure. Focuses on testing the logic and flow.</a:t>
            </a:r>
          </a:p>
          <a:p>
            <a:pPr marL="742950" marR="0" lvl="1" indent="-28575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ampl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Writing tests that verify the path coverage of code.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2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reybox</a:t>
            </a: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esting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A combination of both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lackbox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nd </a:t>
            </a:r>
            <a:r>
              <a:rPr lang="en-US" sz="12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itebox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esting, where testers have partial knowledge of the internal structure.</a:t>
            </a:r>
          </a:p>
          <a:p>
            <a:pPr marL="742950" marR="0" lvl="1" indent="-28575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ample</a:t>
            </a: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Testing APIs with some understanding of how they work internally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B8FDBF-9778-2882-787E-71759CBD8A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2977" y="1722228"/>
            <a:ext cx="5165608" cy="443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491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226</TotalTime>
  <Words>821</Words>
  <Application>Microsoft Office PowerPoint</Application>
  <PresentationFormat>Widescreen</PresentationFormat>
  <Paragraphs>7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-apple-system</vt:lpstr>
      <vt:lpstr>Aptos</vt:lpstr>
      <vt:lpstr>Arial</vt:lpstr>
      <vt:lpstr>Calibri</vt:lpstr>
      <vt:lpstr>Courier New</vt:lpstr>
      <vt:lpstr>Symbol</vt:lpstr>
      <vt:lpstr>Office Theme</vt:lpstr>
      <vt:lpstr>think-cell Slide</vt:lpstr>
      <vt:lpstr>PowerPoint Presentation</vt:lpstr>
      <vt:lpstr>PowerPoint Presentation</vt:lpstr>
      <vt:lpstr>Learning 1 | My takeaways</vt:lpstr>
      <vt:lpstr>Learning 2 | My takeaways</vt:lpstr>
      <vt:lpstr>Learning 2 | My takeaways</vt:lpstr>
      <vt:lpstr>Learning 3 | My takeaways</vt:lpstr>
      <vt:lpstr>Learning 4 | My takeaways</vt:lpstr>
      <vt:lpstr>Learning 5 | My takeaways</vt:lpstr>
      <vt:lpstr>Learning 6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 K</cp:lastModifiedBy>
  <cp:revision>529</cp:revision>
  <dcterms:created xsi:type="dcterms:W3CDTF">2022-01-18T12:35:56Z</dcterms:created>
  <dcterms:modified xsi:type="dcterms:W3CDTF">2024-09-05T19:2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